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6"/>
  </p:notesMasterIdLst>
  <p:sldIdLst>
    <p:sldId id="257" r:id="rId5"/>
    <p:sldId id="275" r:id="rId6"/>
    <p:sldId id="276" r:id="rId7"/>
    <p:sldId id="583" r:id="rId8"/>
    <p:sldId id="584" r:id="rId9"/>
    <p:sldId id="585" r:id="rId10"/>
    <p:sldId id="586" r:id="rId11"/>
    <p:sldId id="701" r:id="rId12"/>
    <p:sldId id="277" r:id="rId13"/>
    <p:sldId id="869" r:id="rId14"/>
    <p:sldId id="278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90B8F4"/>
    <a:srgbClr val="A8C8F6"/>
    <a:srgbClr val="FF3700"/>
    <a:srgbClr val="0099FF"/>
    <a:srgbClr val="9BD4FF"/>
    <a:srgbClr val="85CBFF"/>
    <a:srgbClr val="1111D5"/>
    <a:srgbClr val="696969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20E7D5-0C87-4F99-9889-339F89308518}" v="1" dt="2020-03-09T16:34:50.6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242" autoAdjust="0"/>
  </p:normalViewPr>
  <p:slideViewPr>
    <p:cSldViewPr snapToGrid="0" showGuides="1">
      <p:cViewPr varScale="1">
        <p:scale>
          <a:sx n="103" d="100"/>
          <a:sy n="103" d="100"/>
        </p:scale>
        <p:origin x="168" y="3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ert, Karsten" userId="bc4a78a1-2698-4292-a900-7497780493a4" providerId="ADAL" clId="{5120E7D5-0C87-4F99-9889-339F89308518}"/>
    <pc:docChg chg="modSld sldOrd">
      <pc:chgData name="Naert, Karsten" userId="bc4a78a1-2698-4292-a900-7497780493a4" providerId="ADAL" clId="{5120E7D5-0C87-4F99-9889-339F89308518}" dt="2020-03-09T16:34:50.657" v="0"/>
      <pc:docMkLst>
        <pc:docMk/>
      </pc:docMkLst>
      <pc:sldChg chg="ord">
        <pc:chgData name="Naert, Karsten" userId="bc4a78a1-2698-4292-a900-7497780493a4" providerId="ADAL" clId="{5120E7D5-0C87-4F99-9889-339F89308518}" dt="2020-03-09T16:34:50.657" v="0"/>
        <pc:sldMkLst>
          <pc:docMk/>
          <pc:sldMk cId="2980390625" sldId="701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15FB2C-D0D5-49A9-98F1-925E2C0F6A9D}" type="datetimeFigureOut">
              <a:rPr lang="en-GB" smtClean="0"/>
              <a:t>09/03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AC812A-DEDA-4792-8F26-E53EDDBE7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830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59900" indent="-292268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69075" indent="-233814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36705" indent="-233814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104334" indent="-233814" eaLnBrk="0" hangingPunct="0">
              <a:spcBef>
                <a:spcPct val="30000"/>
              </a:spcBef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71965" indent="-233814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3039594" indent="-233814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507224" indent="-233814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974854" indent="-233814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marR="0" lvl="0" indent="0" algn="r" defTabSz="92140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2D3DBA-259A-4A2E-95CC-A25FFFB6C79F}" type="slidenum"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r" defTabSz="921404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663" y="742950"/>
            <a:ext cx="6610350" cy="3719513"/>
          </a:xfrm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defTabSz="928257" eaLnBrk="1" hangingPunct="1">
              <a:defRPr/>
            </a:pPr>
            <a:r>
              <a:rPr lang="en-US" altLang="en-US" sz="1400" b="0" dirty="0">
                <a:solidFill>
                  <a:srgbClr val="171717"/>
                </a:solidFill>
                <a:latin typeface="Arial" pitchFamily="34" charset="0"/>
              </a:rPr>
              <a:t>(</a:t>
            </a:r>
            <a:endParaRPr lang="en-US" altLang="en-US" sz="1400" b="0" baseline="0" dirty="0">
              <a:solidFill>
                <a:srgbClr val="171717"/>
              </a:solidFill>
              <a:latin typeface="Arial" pitchFamily="34" charset="0"/>
            </a:endParaRPr>
          </a:p>
          <a:p>
            <a:pPr defTabSz="928257" eaLnBrk="1" hangingPunct="1">
              <a:defRPr/>
            </a:pPr>
            <a:endParaRPr lang="en-US" altLang="en-US" b="0" dirty="0">
              <a:solidFill>
                <a:srgbClr val="171717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293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A1FE06A1-A6DA-4F1B-A97A-F2D7194128AE}" type="slidenum">
              <a:rPr lang="en-GB" altLang="nl-BE" smtClean="0"/>
              <a:pPr>
                <a:spcBef>
                  <a:spcPct val="0"/>
                </a:spcBef>
              </a:pPr>
              <a:t>4</a:t>
            </a:fld>
            <a:endParaRPr lang="en-GB" altLang="nl-BE"/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01925" y="511175"/>
            <a:ext cx="4527550" cy="2547938"/>
          </a:xfrm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23975" y="3228975"/>
            <a:ext cx="7278688" cy="30575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nl-NL" altLang="nl-BE">
                <a:latin typeface="Arial" panose="020B0604020202020204" pitchFamily="34" charset="0"/>
              </a:rPr>
              <a:t>Hier staat iemand!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7758E433-13EF-490A-9615-B8452D680D5B}" type="slidenum">
              <a:rPr lang="en-GB" altLang="nl-BE" smtClean="0"/>
              <a:pPr>
                <a:spcBef>
                  <a:spcPct val="0"/>
                </a:spcBef>
              </a:pPr>
              <a:t>5</a:t>
            </a:fld>
            <a:endParaRPr lang="en-GB" altLang="nl-BE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00338" y="511175"/>
            <a:ext cx="4525962" cy="2546350"/>
          </a:xfrm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23975" y="3227388"/>
            <a:ext cx="7278688" cy="30591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nl-BE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D01BDCD5-6DA2-47BE-9614-EC695BD27312}" type="slidenum">
              <a:rPr lang="en-GB" altLang="nl-BE" smtClean="0"/>
              <a:pPr>
                <a:spcBef>
                  <a:spcPct val="0"/>
                </a:spcBef>
              </a:pPr>
              <a:t>6</a:t>
            </a:fld>
            <a:endParaRPr lang="en-GB" altLang="nl-BE"/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00338" y="511175"/>
            <a:ext cx="4525962" cy="2546350"/>
          </a:xfrm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23975" y="3227388"/>
            <a:ext cx="7278688" cy="305911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l-NL" altLang="nl-BE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3184CEE3-AAEF-40B3-9087-CDE5529E630F}" type="slidenum">
              <a:rPr lang="en-GB" altLang="nl-BE" smtClean="0"/>
              <a:pPr>
                <a:spcBef>
                  <a:spcPct val="0"/>
                </a:spcBef>
              </a:pPr>
              <a:t>7</a:t>
            </a:fld>
            <a:endParaRPr lang="en-GB" altLang="nl-BE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01925" y="509588"/>
            <a:ext cx="4527550" cy="2547937"/>
          </a:xfrm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23975" y="3227388"/>
            <a:ext cx="7278688" cy="30607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nl-NL" altLang="nl-BE">
                <a:latin typeface="Arial" panose="020B0604020202020204" pitchFamily="34" charset="0"/>
              </a:rPr>
              <a:t>Ijzer </a:t>
            </a:r>
            <a:r>
              <a:rPr lang="nl-NL" altLang="nl-BE">
                <a:latin typeface="Arial" panose="020B0604020202020204" pitchFamily="34" charset="0"/>
                <a:sym typeface="Wingdings" panose="05000000000000000000" pitchFamily="2" charset="2"/>
              </a:rPr>
              <a:t> staal: koolstof verwijderen door inblazen zuurstof</a:t>
            </a:r>
            <a:endParaRPr lang="nl-NL" altLang="nl-BE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BB5D7BA-B5BA-428F-BBA5-87C97F21E22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9388" y="1727387"/>
            <a:ext cx="11832613" cy="4951226"/>
          </a:xfrm>
        </p:spPr>
        <p:txBody>
          <a:bodyPr lIns="72000" tIns="72000" rIns="72000" bIns="72000"/>
          <a:lstStyle>
            <a:lvl1pPr marL="75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700800" y="5421600"/>
            <a:ext cx="7680000" cy="6480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700800" y="4564800"/>
            <a:ext cx="7680000" cy="831600"/>
          </a:xfrm>
        </p:spPr>
        <p:txBody>
          <a:bodyPr anchor="t"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1AC12B1-0300-415B-BD1A-5ED8BF35DE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9652647" y="353692"/>
            <a:ext cx="2067635" cy="898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9704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800" y="1260000"/>
            <a:ext cx="540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800" y="2052000"/>
            <a:ext cx="5399583" cy="3888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60000" y="1260000"/>
            <a:ext cx="540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60418" y="2052000"/>
            <a:ext cx="5399583" cy="3888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59B239F7-4580-4877-A474-73AB5A8C1A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D2198827-0937-46D7-814E-35835DBBB39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F4DA6BB4-B5F8-4CFD-A8CC-C91F91FD62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AF49BF9-5C1E-405B-8F29-91C1B9CE77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7381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orient="horz" pos="799" userDrawn="1">
          <p15:clr>
            <a:srgbClr val="FBAE40"/>
          </p15:clr>
        </p15:guide>
        <p15:guide id="3" pos="7423" userDrawn="1">
          <p15:clr>
            <a:srgbClr val="FBAE40"/>
          </p15:clr>
        </p15:guide>
        <p15:guide id="4" orient="horz" pos="374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800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800" y="1260000"/>
            <a:ext cx="540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800" y="2052000"/>
            <a:ext cx="5399583" cy="3888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60000" y="1260000"/>
            <a:ext cx="540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60418" y="2052000"/>
            <a:ext cx="5399583" cy="3888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7D2E39-0A84-443B-91AB-81D7D45B930D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6800" y="1116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C0269937-71BB-431E-9FD6-143D300E3E8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54D18F0B-AD1B-4280-9391-E43F6EE6E2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F61CD0A1-F5EF-454F-91DF-8A01F4A3E7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B6053FF6-B9E4-4171-8F4B-DC30B0590D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BAFE8FF-47D8-4504-A531-349AB224B9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942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48" userDrawn="1">
          <p15:clr>
            <a:srgbClr val="FBAE40"/>
          </p15:clr>
        </p15:guide>
        <p15:guide id="3" pos="257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60000" y="1260000"/>
            <a:ext cx="540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60418" y="2052000"/>
            <a:ext cx="5399583" cy="3888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0C06F53-3CC1-4031-A3A6-25EFE8BFF45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7988" y="1260000"/>
            <a:ext cx="5400000" cy="4680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DE3679C8-D7F6-42B6-A820-69300FFA830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C89FDE3E-96D4-4AD1-9713-69A9346A808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849DF84-F6E7-4FC4-BE68-958DE9AB19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A2D16434-B88F-4752-9EA4-ED40F332D5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56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48" userDrawn="1">
          <p15:clr>
            <a:srgbClr val="FBAE40"/>
          </p15:clr>
        </p15:guide>
        <p15:guide id="2" orient="horz" pos="799" userDrawn="1">
          <p15:clr>
            <a:srgbClr val="FBAE40"/>
          </p15:clr>
        </p15:guide>
        <p15:guide id="3" pos="257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360000" y="1260000"/>
            <a:ext cx="540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60418" y="2052000"/>
            <a:ext cx="5399583" cy="3888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7D2E39-0A84-443B-91AB-81D7D45B930D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1116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A74FCFC-2993-446E-872F-EA2F826DF9A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7988" y="1260000"/>
            <a:ext cx="5400000" cy="4680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B9A679CA-26BE-4AEB-AE86-9549F8207E2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D92FE2F2-12F1-48D8-B264-6B2C7808A9F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676097A1-4426-4925-8ED0-37212128E6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D9D1D525-E0B5-41E1-A89C-8BF735C460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5CE299C-C2D5-43C0-82A7-C208C878AE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019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48" userDrawn="1">
          <p15:clr>
            <a:srgbClr val="FBAE40"/>
          </p15:clr>
        </p15:guide>
        <p15:guide id="2" orient="horz" pos="799" userDrawn="1">
          <p15:clr>
            <a:srgbClr val="FBAE40"/>
          </p15:clr>
        </p15:guide>
        <p15:guide id="3" pos="257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360000" y="1260000"/>
            <a:ext cx="5400000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800" y="1260000"/>
            <a:ext cx="540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800" y="2052000"/>
            <a:ext cx="5399583" cy="3312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508000"/>
            <a:ext cx="11352012" cy="414000"/>
          </a:xfrm>
          <a:solidFill>
            <a:schemeClr val="accent1"/>
          </a:solidFill>
        </p:spPr>
        <p:txBody>
          <a:bodyPr lIns="90000" rIns="90000" anchor="ctr"/>
          <a:lstStyle>
            <a:lvl1pPr marL="750" indent="0">
              <a:buNone/>
              <a:defRPr sz="1600" b="1">
                <a:solidFill>
                  <a:schemeClr val="bg1"/>
                </a:solidFill>
              </a:defRPr>
            </a:lvl1pPr>
            <a:lvl2pPr marL="268537" indent="0">
              <a:buNone/>
              <a:defRPr sz="1600" b="1">
                <a:solidFill>
                  <a:schemeClr val="bg1"/>
                </a:solidFill>
              </a:defRPr>
            </a:lvl2pPr>
            <a:lvl3pPr marL="544512" indent="0">
              <a:buNone/>
              <a:defRPr sz="1600" b="1">
                <a:solidFill>
                  <a:schemeClr val="bg1"/>
                </a:solidFill>
              </a:defRPr>
            </a:lvl3pPr>
            <a:lvl4pPr marL="811213" indent="0">
              <a:buNone/>
              <a:defRPr sz="1600" b="1">
                <a:solidFill>
                  <a:schemeClr val="bg1"/>
                </a:solidFill>
              </a:defRPr>
            </a:lvl4pPr>
            <a:lvl5pPr marL="1082675" indent="0"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99AAB31-0C28-4F5C-8211-6792AD6BAEB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73E5C5B2-229A-4AE8-80AE-98482FD2930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D79415E-1EEA-4ABA-9894-961154D561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EF18441-A432-4CB5-BD03-E9BF9F2300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89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7423" userDrawn="1">
          <p15:clr>
            <a:srgbClr val="FBAE40"/>
          </p15:clr>
        </p15:guide>
        <p15:guide id="4" orient="horz" pos="338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360000" y="1260000"/>
            <a:ext cx="5400000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260000"/>
            <a:ext cx="5400000" cy="648000"/>
          </a:xfrm>
        </p:spPr>
        <p:txBody>
          <a:bodyPr/>
          <a:lstStyle>
            <a:lvl1pPr marL="750" indent="0">
              <a:buNone/>
              <a:defRPr sz="2000" b="1">
                <a:solidFill>
                  <a:schemeClr val="accent1"/>
                </a:solidFill>
              </a:defRPr>
            </a:lvl1pPr>
            <a:lvl2pPr marL="268537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8406" y="2052000"/>
            <a:ext cx="5399583" cy="33120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508000"/>
            <a:ext cx="11352012" cy="414000"/>
          </a:xfrm>
          <a:solidFill>
            <a:schemeClr val="accent1"/>
          </a:solidFill>
        </p:spPr>
        <p:txBody>
          <a:bodyPr lIns="90000" rIns="90000" anchor="ctr"/>
          <a:lstStyle>
            <a:lvl1pPr marL="750" indent="0">
              <a:buNone/>
              <a:defRPr sz="1600" b="1">
                <a:solidFill>
                  <a:schemeClr val="bg1"/>
                </a:solidFill>
              </a:defRPr>
            </a:lvl1pPr>
            <a:lvl2pPr marL="268537" indent="0">
              <a:buNone/>
              <a:defRPr sz="1600" b="1">
                <a:solidFill>
                  <a:schemeClr val="bg1"/>
                </a:solidFill>
              </a:defRPr>
            </a:lvl2pPr>
            <a:lvl3pPr marL="544512" indent="0">
              <a:buNone/>
              <a:defRPr sz="1600" b="1">
                <a:solidFill>
                  <a:schemeClr val="bg1"/>
                </a:solidFill>
              </a:defRPr>
            </a:lvl3pPr>
            <a:lvl4pPr marL="811213" indent="0">
              <a:buNone/>
              <a:defRPr sz="1600" b="1">
                <a:solidFill>
                  <a:schemeClr val="bg1"/>
                </a:solidFill>
              </a:defRPr>
            </a:lvl4pPr>
            <a:lvl5pPr marL="1082675" indent="0">
              <a:buNone/>
              <a:defRPr sz="16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A8557CF-BD42-4936-8A22-6C9F07CE327E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1116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Rectangle 6">
            <a:extLst>
              <a:ext uri="{FF2B5EF4-FFF2-40B4-BE49-F238E27FC236}">
                <a16:creationId xmlns:a16="http://schemas.microsoft.com/office/drawing/2014/main" id="{373669A0-0EBD-4456-867A-A9328E82891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01D65FF6-D640-4BF1-BF72-8E43AE10D45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E6EF7406-C576-4848-97C7-AAA7FC1757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212D8C9-0A5B-4F84-BDDD-C8B815FE02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21E2B9D-B20A-42A6-B485-B7492D8FB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92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85" userDrawn="1">
          <p15:clr>
            <a:srgbClr val="FBAE40"/>
          </p15:clr>
        </p15:guide>
        <p15:guide id="2" orient="horz" pos="799" userDrawn="1">
          <p15:clr>
            <a:srgbClr val="FBAE40"/>
          </p15:clr>
        </p15:guide>
        <p15:guide id="3" pos="257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7988" y="2988000"/>
            <a:ext cx="11352012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FD5AA67F-D774-4717-932C-F0B29822B9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FBA5458A-D52A-4182-9D4F-B733461BD03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B4092C3-EE46-4DDC-9B63-41F7B0856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B7A2EBB0-0B57-45F2-85B4-777AFE136A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2819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  <p15:guide id="3" pos="257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07988" y="2988000"/>
            <a:ext cx="11352012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284587B-1CDA-4876-A793-514BF8C6E91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A34C3E2D-DFBD-4199-9925-A48E0A0840B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853F276A-A474-4D15-B610-649F7439CF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F114DCB-5F11-4FF0-903E-B39E9FAF2D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077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  <p15:guide id="3" pos="257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7988" y="2988000"/>
            <a:ext cx="11352012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6D0CAE5-54C6-4375-901A-EB98C675EFD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1116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C864E540-FF59-4025-8314-E98F695F93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A6C897A3-6BB6-4DE3-A141-15C36C89E8F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1B1DC07-E33B-4ABF-8144-061A20796F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14E9E1FF-0CC9-4C2C-91F3-B277952031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26C4F3A-A4FB-4B3A-9049-2ADF29BFF4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30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  <p15:guide id="3" pos="257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07988" y="2988000"/>
            <a:ext cx="11352012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01E86BD-C3D4-4C70-B960-C87AD78F27F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1116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31D130F5-5749-41B7-83E7-606999E8164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DEA80CA-6343-47F9-8111-C0231C91CB7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B6BF80E-F726-4844-9E12-485EE1B551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CE6CE8F-D25B-478B-B524-109E8471D2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F8F22BB-1F56-40DF-BF7A-DFED9C40E2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89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377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DE65D08B-79C9-485D-A876-9F63BA201D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D7F194B-4125-45EA-9042-E9682F3378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2737A6B-1F4F-4C75-A280-69E1AF148D43}"/>
              </a:ext>
            </a:extLst>
          </p:cNvPr>
          <p:cNvGrpSpPr/>
          <p:nvPr userDrawn="1"/>
        </p:nvGrpSpPr>
        <p:grpSpPr>
          <a:xfrm>
            <a:off x="-1952922" y="1270489"/>
            <a:ext cx="1800000" cy="2539876"/>
            <a:chOff x="8313420" y="3385207"/>
            <a:chExt cx="1800000" cy="253987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752040B-0C72-4E3A-9D8A-AA2C899A463C}"/>
                </a:ext>
              </a:extLst>
            </p:cNvPr>
            <p:cNvSpPr/>
            <p:nvPr/>
          </p:nvSpPr>
          <p:spPr>
            <a:xfrm>
              <a:off x="8313420" y="3745478"/>
              <a:ext cx="1800000" cy="2179605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tIns="72000" bIns="72000">
              <a:no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  <a:t>Elements on slides should so far as possible align with the image/text area that is indicated by the dotted guides. To turn guides on/off, right-click </a:t>
              </a:r>
              <a:b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</a:b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  <a:t>and select Grid and Guides. Guides will </a:t>
              </a:r>
              <a:b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</a:b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  <a:t>not print or appear</a:t>
              </a:r>
              <a:b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</a:br>
              <a:r>
                <a:rPr lang="en-US" sz="1200" dirty="0">
                  <a:solidFill>
                    <a:schemeClr val="bg1"/>
                  </a:solidFill>
                  <a:latin typeface="Arial" panose="020B0604020202020204" pitchFamily="34" charset="0"/>
                </a:rPr>
                <a:t>in slideshow mode.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528388D-9E8F-44E7-8A0B-19BA30E02437}"/>
                </a:ext>
              </a:extLst>
            </p:cNvPr>
            <p:cNvGrpSpPr/>
            <p:nvPr/>
          </p:nvGrpSpPr>
          <p:grpSpPr>
            <a:xfrm>
              <a:off x="8313420" y="3385207"/>
              <a:ext cx="360000" cy="360000"/>
              <a:chOff x="8313420" y="3385207"/>
              <a:chExt cx="360000" cy="360000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3306A14B-98A9-46E3-B9F1-62A2EBDD66A2}"/>
                  </a:ext>
                </a:extLst>
              </p:cNvPr>
              <p:cNvSpPr/>
              <p:nvPr/>
            </p:nvSpPr>
            <p:spPr bwMode="auto">
              <a:xfrm>
                <a:off x="8313420" y="3385207"/>
                <a:ext cx="360000" cy="36000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2400" b="0" i="0" u="none" strike="noStrike" cap="none" normalizeH="0" baseline="-25000" dirty="0">
                  <a:ln>
                    <a:noFill/>
                  </a:ln>
                  <a:solidFill>
                    <a:srgbClr val="FAFFFF"/>
                  </a:solidFill>
                  <a:effectLst/>
                  <a:latin typeface="Arial" pitchFamily="34" charset="0"/>
                  <a:ea typeface="MS PGothic" pitchFamily="34" charset="-128"/>
                </a:endParaRPr>
              </a:p>
            </p:txBody>
          </p: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C08BDC3D-38C7-4E32-8DA9-DD3123D54C47}"/>
                  </a:ext>
                </a:extLst>
              </p:cNvPr>
              <p:cNvGrpSpPr/>
              <p:nvPr/>
            </p:nvGrpSpPr>
            <p:grpSpPr>
              <a:xfrm>
                <a:off x="8380800" y="3406406"/>
                <a:ext cx="216000" cy="270662"/>
                <a:chOff x="8312527" y="3390218"/>
                <a:chExt cx="216000" cy="270662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AC8126BC-E5DD-46AC-AC9F-8B17A73D71EC}"/>
                    </a:ext>
                  </a:extLst>
                </p:cNvPr>
                <p:cNvSpPr/>
                <p:nvPr/>
              </p:nvSpPr>
              <p:spPr bwMode="auto">
                <a:xfrm>
                  <a:off x="8312527" y="3444880"/>
                  <a:ext cx="216000" cy="216000"/>
                </a:xfrm>
                <a:prstGeom prst="ellipse">
                  <a:avLst/>
                </a:prstGeom>
                <a:noFill/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GB" sz="2400" b="0" i="0" u="none" strike="noStrike" cap="none" normalizeH="0" baseline="-25000">
                    <a:ln>
                      <a:noFill/>
                    </a:ln>
                    <a:solidFill>
                      <a:srgbClr val="FAFFFF"/>
                    </a:solidFill>
                    <a:effectLst/>
                    <a:latin typeface="Arial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AC96645F-C364-430C-A107-8A31C8E93EE5}"/>
                    </a:ext>
                  </a:extLst>
                </p:cNvPr>
                <p:cNvSpPr/>
                <p:nvPr/>
              </p:nvSpPr>
              <p:spPr>
                <a:xfrm>
                  <a:off x="8396481" y="3390218"/>
                  <a:ext cx="48091" cy="205184"/>
                </a:xfrm>
                <a:prstGeom prst="rect">
                  <a:avLst/>
                </a:prstGeom>
              </p:spPr>
              <p:txBody>
                <a:bodyPr wrap="none" lIns="0" tIns="0" rIns="0" bIns="0" anchor="ctr">
                  <a:spAutoFit/>
                </a:bodyPr>
                <a:lstStyle/>
                <a:p>
                  <a:pPr lvl="0" algn="ctr" defTabSz="9144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2000" baseline="-25000" dirty="0">
                      <a:solidFill>
                        <a:srgbClr val="FAFFFF"/>
                      </a:solidFill>
                      <a:latin typeface="Arial" pitchFamily="34" charset="0"/>
                      <a:ea typeface="MS PGothic" pitchFamily="34" charset="-128"/>
                    </a:rPr>
                    <a:t>!</a:t>
                  </a:r>
                  <a:endParaRPr lang="en-GB" sz="2400" baseline="-25000" dirty="0">
                    <a:solidFill>
                      <a:srgbClr val="FAFFFF"/>
                    </a:solidFill>
                    <a:latin typeface="Arial" pitchFamily="34" charset="0"/>
                    <a:ea typeface="MS PGothic" pitchFamily="34" charset="-128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105030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38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07988" y="1800000"/>
            <a:ext cx="11352012" cy="3816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1260000"/>
            <a:ext cx="11352012" cy="324000"/>
          </a:xfrm>
        </p:spPr>
        <p:txBody>
          <a:bodyPr/>
          <a:lstStyle>
            <a:lvl1pPr marL="750" indent="0">
              <a:buNone/>
              <a:defRPr sz="1400"/>
            </a:lvl1pPr>
            <a:lvl2pPr marL="268537" indent="0">
              <a:buNone/>
              <a:defRPr/>
            </a:lvl2pPr>
            <a:lvl3pPr marL="544512" indent="0">
              <a:buNone/>
              <a:defRPr/>
            </a:lvl3pPr>
            <a:lvl4pPr marL="811213" indent="0">
              <a:buNone/>
              <a:defRPr/>
            </a:lvl4pPr>
            <a:lvl5pPr marL="108267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5688000"/>
            <a:ext cx="9388800" cy="360000"/>
          </a:xfrm>
        </p:spPr>
        <p:txBody>
          <a:bodyPr/>
          <a:lstStyle>
            <a:lvl1pPr marL="750" indent="0">
              <a:buNone/>
              <a:defRPr sz="800"/>
            </a:lvl1pPr>
            <a:lvl2pPr marL="268537" indent="0">
              <a:buNone/>
              <a:defRPr sz="800"/>
            </a:lvl2pPr>
            <a:lvl3pPr marL="544512" indent="0">
              <a:buNone/>
              <a:defRPr sz="800"/>
            </a:lvl3pPr>
            <a:lvl4pPr marL="811213" indent="0">
              <a:buNone/>
              <a:defRPr sz="800"/>
            </a:lvl4pPr>
            <a:lvl5pPr marL="1082675" indent="0">
              <a:buNone/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0F33A73F-A895-4C94-95A9-FA03D023DC8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3854CEC-8BEC-4939-A1B8-8CF31401923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89176665-5609-4739-99EF-C6DD9E6EEB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5A3ED9A-C6BE-4F44-8CBC-0013059073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1600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01" userDrawn="1">
          <p15:clr>
            <a:srgbClr val="FBAE40"/>
          </p15:clr>
        </p15:guide>
        <p15:guide id="3" orient="horz" pos="777" userDrawn="1">
          <p15:clr>
            <a:srgbClr val="FBAE40"/>
          </p15:clr>
        </p15:guide>
        <p15:guide id="4" orient="horz" pos="3543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07988" y="1800000"/>
            <a:ext cx="11352012" cy="3816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8" y="1260000"/>
            <a:ext cx="11352012" cy="324000"/>
          </a:xfrm>
        </p:spPr>
        <p:txBody>
          <a:bodyPr/>
          <a:lstStyle>
            <a:lvl1pPr marL="750" indent="0">
              <a:buNone/>
              <a:defRPr sz="1400"/>
            </a:lvl1pPr>
            <a:lvl2pPr marL="268537" indent="0">
              <a:buNone/>
              <a:defRPr/>
            </a:lvl2pPr>
            <a:lvl3pPr marL="544512" indent="0">
              <a:buNone/>
              <a:defRPr/>
            </a:lvl3pPr>
            <a:lvl4pPr marL="811213" indent="0">
              <a:buNone/>
              <a:defRPr/>
            </a:lvl4pPr>
            <a:lvl5pPr marL="1082675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5688000"/>
            <a:ext cx="9388800" cy="360000"/>
          </a:xfrm>
        </p:spPr>
        <p:txBody>
          <a:bodyPr/>
          <a:lstStyle>
            <a:lvl1pPr marL="750" indent="0">
              <a:buNone/>
              <a:defRPr sz="800"/>
            </a:lvl1pPr>
            <a:lvl2pPr marL="268537" indent="0">
              <a:buNone/>
              <a:defRPr sz="800"/>
            </a:lvl2pPr>
            <a:lvl3pPr marL="544512" indent="0">
              <a:buNone/>
              <a:defRPr sz="800"/>
            </a:lvl3pPr>
            <a:lvl4pPr marL="811213" indent="0">
              <a:buNone/>
              <a:defRPr sz="800"/>
            </a:lvl4pPr>
            <a:lvl5pPr marL="1082675" indent="0">
              <a:buNone/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C08228-43C1-495B-A61A-1771C87AF20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1116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6">
            <a:extLst>
              <a:ext uri="{FF2B5EF4-FFF2-40B4-BE49-F238E27FC236}">
                <a16:creationId xmlns:a16="http://schemas.microsoft.com/office/drawing/2014/main" id="{81CF5AC5-B762-40BA-8D84-8B53B1913B7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19275034-B9ED-4823-909A-12B30A9F76D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88FE6AD-0E6A-4DFF-968C-8FA51A583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1546D1A-7C52-41DB-BCBB-C8325AF794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DEFD932-6B8C-42EF-8692-4E9A0B9628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525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543" userDrawn="1">
          <p15:clr>
            <a:srgbClr val="FBAE40"/>
          </p15:clr>
        </p15:guide>
        <p15:guide id="3" pos="7423" userDrawn="1">
          <p15:clr>
            <a:srgbClr val="FBAE40"/>
          </p15:clr>
        </p15:guide>
        <p15:guide id="4" pos="25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08406" y="1260475"/>
            <a:ext cx="11375607" cy="43561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5688000"/>
            <a:ext cx="9388800" cy="360000"/>
          </a:xfrm>
        </p:spPr>
        <p:txBody>
          <a:bodyPr/>
          <a:lstStyle>
            <a:lvl1pPr marL="750" indent="0">
              <a:buNone/>
              <a:defRPr sz="800"/>
            </a:lvl1pPr>
            <a:lvl2pPr marL="268537" indent="0">
              <a:buNone/>
              <a:defRPr sz="800"/>
            </a:lvl2pPr>
            <a:lvl3pPr marL="544512" indent="0">
              <a:buNone/>
              <a:defRPr sz="800"/>
            </a:lvl3pPr>
            <a:lvl4pPr marL="811213" indent="0">
              <a:buNone/>
              <a:defRPr sz="800"/>
            </a:lvl4pPr>
            <a:lvl5pPr marL="1082675" indent="0">
              <a:buNone/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A0C41700-2D2A-45F9-9EDA-9C15BE259D2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F9146766-47FE-4CE2-AE7C-090A18DDE4A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0BDAAD77-6F4E-44AE-B736-747FA11E60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751223C-455F-4490-B65C-2E035D4C62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0251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543" userDrawn="1">
          <p15:clr>
            <a:srgbClr val="FBAE40"/>
          </p15:clr>
        </p15:guide>
        <p15:guide id="3" pos="257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07988" y="1260475"/>
            <a:ext cx="11352213" cy="4356100"/>
          </a:xfrm>
        </p:spPr>
        <p:txBody>
          <a:bodyPr/>
          <a:lstStyle>
            <a:lvl1pPr marL="75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566" y="360000"/>
            <a:ext cx="11352434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7988" y="5688000"/>
            <a:ext cx="9388800" cy="360000"/>
          </a:xfrm>
        </p:spPr>
        <p:txBody>
          <a:bodyPr/>
          <a:lstStyle>
            <a:lvl1pPr marL="750" indent="0">
              <a:buNone/>
              <a:defRPr sz="800"/>
            </a:lvl1pPr>
            <a:lvl2pPr marL="268537" indent="0">
              <a:buNone/>
              <a:defRPr sz="800"/>
            </a:lvl2pPr>
            <a:lvl3pPr marL="544512" indent="0">
              <a:buNone/>
              <a:defRPr sz="800"/>
            </a:lvl3pPr>
            <a:lvl4pPr marL="811213" indent="0">
              <a:buNone/>
              <a:defRPr sz="800"/>
            </a:lvl4pPr>
            <a:lvl5pPr marL="1082675" indent="0">
              <a:buNone/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860B18B-F973-404F-AEC3-AC1DAAA98CED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566" y="1116000"/>
            <a:ext cx="11352434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ctangle 6">
            <a:extLst>
              <a:ext uri="{FF2B5EF4-FFF2-40B4-BE49-F238E27FC236}">
                <a16:creationId xmlns:a16="http://schemas.microsoft.com/office/drawing/2014/main" id="{EC811AB3-08A2-42D8-BAD1-10F430F806C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101D9CA6-E7A6-4F8E-BCDC-92FD8C517F8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51CFB748-A719-4D85-A6DD-3352DA8AD6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238699ED-E3B2-4130-96A5-0F22557383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274A0E0-1392-450D-8986-3D918BEE4C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19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orient="horz" pos="799" userDrawn="1">
          <p15:clr>
            <a:srgbClr val="FBAE40"/>
          </p15:clr>
        </p15:guide>
        <p15:guide id="3" orient="horz" pos="3543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7988" y="2988000"/>
            <a:ext cx="540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60000" y="2988000"/>
            <a:ext cx="540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D34DC55-E80B-49CF-A9E7-E92A3344AB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F817B644-46E0-4874-8B2A-29A19663A0D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DF727A25-77B3-467E-80AA-72599073E3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720D2A6-E424-44C4-A108-445F8F3179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2044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770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07988" y="2988000"/>
            <a:ext cx="540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60000" y="2988000"/>
            <a:ext cx="540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2C232D2C-F4B9-45D5-AD68-A4F18419188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6571FD5-A86C-4B93-BC84-347668B986A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BBF4B1A-5C5F-4934-A0FE-ABF3029C3B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1B1298EA-1A8A-421A-ADF8-4B3B62D89A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6240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  <p15:guide id="3" pos="257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7988" y="2988000"/>
            <a:ext cx="540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6360000" y="2988000"/>
            <a:ext cx="540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DAE4EC9-2B18-4720-916C-D97BA74C251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1116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ctangle 6">
            <a:extLst>
              <a:ext uri="{FF2B5EF4-FFF2-40B4-BE49-F238E27FC236}">
                <a16:creationId xmlns:a16="http://schemas.microsoft.com/office/drawing/2014/main" id="{7FD265D2-2064-42AD-838B-312D03F08D0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7EE3BA67-9DF6-413F-A0AA-4A4C9D1C000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3BE80059-ABCE-424A-BF38-C05EF8156A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A6F15A15-85CC-4E13-B353-9FE46651D7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34896EB-08B5-4B92-AC68-0604B8A6F0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603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  <p15:guide id="3" pos="257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16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407988" y="2988000"/>
            <a:ext cx="540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360000" y="2988000"/>
            <a:ext cx="5400000" cy="2988000"/>
          </a:xfrm>
        </p:spPr>
        <p:txBody>
          <a:bodyPr/>
          <a:lstStyle>
            <a:lvl1pPr marL="75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538B40E-0CA9-4641-B535-EAFAA3D5EC0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1116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80CB13F6-764A-438F-9B1A-92E4A83D0B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3311A3D-AAB4-4E30-A549-9A9268A4EF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742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77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EF3E35-7BAC-4DAC-BF73-B39646774A9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E0521D8-6A60-4405-94E6-87B45B43D5AB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4F3790A2-3ED4-476F-AF15-FF864ED228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9495B5C2-4F1F-4340-BBFC-A2FFB911E38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155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77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17393B6-4A6C-4AF7-AAE8-A83DEE27997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1116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Rectangle 6">
            <a:extLst>
              <a:ext uri="{FF2B5EF4-FFF2-40B4-BE49-F238E27FC236}">
                <a16:creationId xmlns:a16="http://schemas.microsoft.com/office/drawing/2014/main" id="{00D8D745-A917-4544-B52C-C167B938FC8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18736158-736B-4C99-AE3E-5DE67DF6BB4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5B403315-6CB3-4D1B-932F-9111D4E0A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D166C976-4845-4027-A681-CA148561EC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0265565-0FCB-497B-A8F2-D7772FBF1E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166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pos="7423" userDrawn="1">
          <p15:clr>
            <a:srgbClr val="FBAE40"/>
          </p15:clr>
        </p15:guide>
        <p15:guide id="3" orient="horz" pos="799" userDrawn="1">
          <p15:clr>
            <a:srgbClr val="FBAE40"/>
          </p15:clr>
        </p15:guide>
        <p15:guide id="4" orient="horz" pos="377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41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BBF0CE7-A085-443A-932B-4E9C6B607C3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1116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id="{5703CFA7-A538-4501-859A-21256EBD78A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87C43110-7893-4132-8872-7964F9A4CE7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AA44342B-3089-4622-91B7-14FDB45E49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6147C7B-85AB-44D4-9329-28BF93323E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557317F-CD89-4414-8AE8-AE968B7485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291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799" userDrawn="1">
          <p15:clr>
            <a:srgbClr val="FBAE40"/>
          </p15:clr>
        </p15:guide>
        <p15:guide id="3" orient="horz" pos="3385" userDrawn="1">
          <p15:clr>
            <a:srgbClr val="FBAE40"/>
          </p15:clr>
        </p15:guide>
        <p15:guide id="4" pos="257" userDrawn="1">
          <p15:clr>
            <a:srgbClr val="FBAE40"/>
          </p15:clr>
        </p15:guide>
        <p15:guide id="5" pos="742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C919A1E-AF03-4E65-AB90-7B16340F5AF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1D93099D-53F9-451B-BF59-BB728B4000D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CD7FB87-9E67-43F8-AAED-2A70B27779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A67C477-4409-447C-B5B9-D51C1D7968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BF429D0-55D9-4BF5-8930-393B0D2152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3623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5377C0-FCE4-4A15-A140-BE5CF49EBAC0}" type="datetime1">
              <a:rPr lang="en-GB"/>
              <a:pPr>
                <a:defRPr/>
              </a:pPr>
              <a:t>09/03/2020</a:t>
            </a:fld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A44889-50C9-40F0-92DB-7F377CF8DF14}" type="slidenum">
              <a:rPr lang="en-GB" altLang="nl-BE"/>
              <a:pPr>
                <a:defRPr/>
              </a:pPr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25221782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059EA7-5F56-428A-B9F4-8A274CFA3B56}" type="datetime1">
              <a:rPr lang="en-GB"/>
              <a:pPr>
                <a:defRPr/>
              </a:pPr>
              <a:t>09/03/2020</a:t>
            </a:fld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CDB94C-F116-493B-AE0D-9F650D53EC4D}" type="slidenum">
              <a:rPr lang="en-GB" altLang="nl-BE"/>
              <a:pPr>
                <a:defRPr/>
              </a:pPr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41683253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FEBCF3-85EE-4FF0-B0DD-8BAE03EF966D}" type="datetime1">
              <a:rPr lang="en-GB"/>
              <a:pPr>
                <a:defRPr/>
              </a:pPr>
              <a:t>09/03/2020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387DC7-40CB-4E0A-98FF-24311D33C81F}" type="slidenum">
              <a:rPr lang="en-GB" altLang="nl-BE"/>
              <a:pPr>
                <a:defRPr/>
              </a:pPr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16164996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475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1D067FA-704F-4565-BD79-FEDF669F1EF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E393F749-AC7C-4FC3-8474-84925B26C13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CDF99922-1635-4F71-88B4-1E28F3F26A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DC82022E-CCEB-4FA5-8A53-474D542504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881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23" userDrawn="1">
          <p15:clr>
            <a:srgbClr val="FBAE40"/>
          </p15:clr>
        </p15:guide>
        <p15:guide id="2" orient="horz" pos="799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  <p15:guide id="4" pos="25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260000"/>
            <a:ext cx="11352012" cy="475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BBF0CE7-A085-443A-932B-4E9C6B607C3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1116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Rectangle 6">
            <a:extLst>
              <a:ext uri="{FF2B5EF4-FFF2-40B4-BE49-F238E27FC236}">
                <a16:creationId xmlns:a16="http://schemas.microsoft.com/office/drawing/2014/main" id="{79A5DEB5-22C5-476C-A468-B2DD9C35F64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21EBDCD7-77A5-4BC7-96F7-DED46AF71ED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3504EB2-1848-44C8-9FAD-B72B04C0D8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FDC93F1E-1D6F-43FD-9F80-5EC5B2AC63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D018A48-017C-453A-80EC-F39EDCD2B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91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43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260000"/>
            <a:ext cx="5400000" cy="4104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0000" y="1260000"/>
            <a:ext cx="5400000" cy="4104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B63F7A3-D2B3-45F4-BD1B-57C8EA14999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8AC47872-D543-4BEF-BA7A-CB53103BE82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EE9AE11-EE74-483E-A73A-9C916D29CA6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9352F52-FFAB-470B-B18A-736517E3A7E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8049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orient="horz" pos="799" userDrawn="1">
          <p15:clr>
            <a:srgbClr val="FBAE40"/>
          </p15:clr>
        </p15:guide>
        <p15:guide id="3" pos="7423" userDrawn="1">
          <p15:clr>
            <a:srgbClr val="FBAE40"/>
          </p15:clr>
        </p15:guide>
        <p15:guide id="4" orient="horz" pos="338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260000"/>
            <a:ext cx="5400000" cy="4104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0000" y="1260000"/>
            <a:ext cx="5400000" cy="4104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9C55FC-617D-4D5B-9758-F76A146B3B6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1116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Rectangle 6">
            <a:extLst>
              <a:ext uri="{FF2B5EF4-FFF2-40B4-BE49-F238E27FC236}">
                <a16:creationId xmlns:a16="http://schemas.microsoft.com/office/drawing/2014/main" id="{3AAC17B3-09B8-46B1-86DA-C442998FCF4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E7CD3C6-BAEE-46A0-B9A3-D5C64251D7A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5243F8BA-4DDF-4B73-ADD4-92881531B26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1AFB7E2E-70C7-4088-B484-721C715642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0870A88-CF70-472B-8DAD-506E92F157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800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orient="horz" pos="3385" userDrawn="1">
          <p15:clr>
            <a:srgbClr val="FBAE40"/>
          </p15:clr>
        </p15:guide>
        <p15:guide id="4" pos="742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7988" y="1260000"/>
            <a:ext cx="5400000" cy="4680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0000" y="1260000"/>
            <a:ext cx="5400000" cy="4680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8F719EB-2A7D-4C10-A9AD-0BBE86E0A48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CA2E85CE-3AE3-4AA3-A5BD-94D69F59F7A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F37F3403-5329-4785-8644-DEA2BBBC78A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F85C6F8-8DC6-45E6-ACCF-C49D5EA3A0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3406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pos="257" userDrawn="1">
          <p15:clr>
            <a:srgbClr val="FBAE40"/>
          </p15:clr>
        </p15:guide>
        <p15:guide id="3" pos="7423" userDrawn="1">
          <p15:clr>
            <a:srgbClr val="FBAE40"/>
          </p15:clr>
        </p15:guide>
        <p15:guide id="4" orient="horz" pos="374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360000"/>
            <a:ext cx="11352012" cy="68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800" y="1260000"/>
            <a:ext cx="5400000" cy="4680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0000" y="1260000"/>
            <a:ext cx="5400000" cy="468000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229ACD0-6354-4F13-B032-BB4AFA96A3D2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1116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Rectangle 6">
            <a:extLst>
              <a:ext uri="{FF2B5EF4-FFF2-40B4-BE49-F238E27FC236}">
                <a16:creationId xmlns:a16="http://schemas.microsoft.com/office/drawing/2014/main" id="{AAAA88FF-220D-4AB3-8B0B-A6CD876FFE5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7988" y="6335281"/>
            <a:ext cx="1344000" cy="900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FF182B43-455B-4FEE-A520-1F6EAE41101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7988" y="6516000"/>
            <a:ext cx="1344000" cy="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D5B65EE-5102-41C9-B44A-138C2047366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07988" y="6426000"/>
            <a:ext cx="1344000" cy="9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6D80023-0C1F-48A6-B1EE-FCDD706182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76788" y="6335281"/>
            <a:ext cx="7920000" cy="32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600">
                <a:solidFill>
                  <a:schemeClr val="tx1"/>
                </a:solidFill>
              </a:defRPr>
            </a:lvl1pPr>
            <a:lvl2pPr marL="249237" indent="0">
              <a:buNone/>
              <a:defRPr sz="600">
                <a:solidFill>
                  <a:schemeClr val="tx1"/>
                </a:solidFill>
              </a:defRPr>
            </a:lvl2pPr>
            <a:lvl3pPr marL="544512" indent="0">
              <a:buNone/>
              <a:defRPr sz="600">
                <a:solidFill>
                  <a:schemeClr val="tx1"/>
                </a:solidFill>
              </a:defRPr>
            </a:lvl3pPr>
            <a:lvl4pPr marL="811213" indent="0">
              <a:buNone/>
              <a:defRPr sz="600">
                <a:solidFill>
                  <a:schemeClr val="tx1"/>
                </a:solidFill>
              </a:defRPr>
            </a:lvl4pPr>
            <a:lvl5pPr marL="1082675" indent="0"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977ABDC-F197-4E57-B03D-1B5740B3F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369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 userDrawn="1">
          <p15:clr>
            <a:srgbClr val="FBAE40"/>
          </p15:clr>
        </p15:guide>
        <p15:guide id="2" orient="horz" pos="799" userDrawn="1">
          <p15:clr>
            <a:srgbClr val="FBAE40"/>
          </p15:clr>
        </p15:guide>
        <p15:guide id="3" pos="7423" userDrawn="1">
          <p15:clr>
            <a:srgbClr val="FBAE40"/>
          </p15:clr>
        </p15:guide>
        <p15:guide id="4" orient="horz" pos="374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JPG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6"/>
            </p:custDataLst>
          </p:nvPr>
        </p:nvGraphicFramePr>
        <p:xfrm>
          <a:off x="2158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7" imgW="360" imgH="360" progId="TCLayout.ActiveDocument.1">
                  <p:embed/>
                </p:oleObj>
              </mc:Choice>
              <mc:Fallback>
                <p:oleObj name="think-cell Slide" r:id="rId3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8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7988" y="360000"/>
            <a:ext cx="1135201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988" y="1260000"/>
            <a:ext cx="11352012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7988" y="6335281"/>
            <a:ext cx="1728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lang="en-GB" sz="600" smtClean="0"/>
            </a:lvl1pPr>
          </a:lstStyle>
          <a:p>
            <a:pPr>
              <a:defRPr/>
            </a:pPr>
            <a:r>
              <a:rPr lang="en-GB"/>
              <a:t>Page </a:t>
            </a:r>
            <a:fld id="{72A704F9-61CA-4770-B270-3EB3A3A14010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35F2D72-DD17-4B04-A90D-B62B7886452D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7988" y="864000"/>
            <a:ext cx="11352012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F37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46516025-8FE7-466D-9FC1-A8F17CA632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93" t="13913" r="7527" b="26520"/>
          <a:stretch/>
        </p:blipFill>
        <p:spPr>
          <a:xfrm>
            <a:off x="10759325" y="6129529"/>
            <a:ext cx="1209712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201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741" r:id="rId3"/>
    <p:sldLayoutId id="2147483742" r:id="rId4"/>
    <p:sldLayoutId id="2147483743" r:id="rId5"/>
    <p:sldLayoutId id="2147483676" r:id="rId6"/>
    <p:sldLayoutId id="2147483744" r:id="rId7"/>
    <p:sldLayoutId id="2147483733" r:id="rId8"/>
    <p:sldLayoutId id="2147483745" r:id="rId9"/>
    <p:sldLayoutId id="2147483738" r:id="rId10"/>
    <p:sldLayoutId id="2147483750" r:id="rId11"/>
    <p:sldLayoutId id="2147483756" r:id="rId12"/>
    <p:sldLayoutId id="2147483757" r:id="rId13"/>
    <p:sldLayoutId id="2147483740" r:id="rId14"/>
    <p:sldLayoutId id="2147483751" r:id="rId15"/>
    <p:sldLayoutId id="2147483734" r:id="rId16"/>
    <p:sldLayoutId id="2147483735" r:id="rId17"/>
    <p:sldLayoutId id="2147483752" r:id="rId18"/>
    <p:sldLayoutId id="2147483753" r:id="rId19"/>
    <p:sldLayoutId id="2147483739" r:id="rId20"/>
    <p:sldLayoutId id="2147483747" r:id="rId21"/>
    <p:sldLayoutId id="2147483746" r:id="rId22"/>
    <p:sldLayoutId id="2147483748" r:id="rId23"/>
    <p:sldLayoutId id="2147483736" r:id="rId24"/>
    <p:sldLayoutId id="2147483737" r:id="rId25"/>
    <p:sldLayoutId id="2147483754" r:id="rId26"/>
    <p:sldLayoutId id="2147483755" r:id="rId27"/>
    <p:sldLayoutId id="2147483678" r:id="rId28"/>
    <p:sldLayoutId id="2147483749" r:id="rId29"/>
    <p:sldLayoutId id="2147483679" r:id="rId30"/>
    <p:sldLayoutId id="2147483758" r:id="rId31"/>
    <p:sldLayoutId id="2147483759" r:id="rId32"/>
    <p:sldLayoutId id="2147483760" r:id="rId33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+mj-lt"/>
          <a:ea typeface="MS PGothic" pitchFamily="34" charset="-128"/>
          <a:cs typeface="MS PGothic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248400" indent="-2476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540000" indent="-2714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809625" indent="-2651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1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081088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sz="11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13525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1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18097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6pPr>
      <a:lvl7pPr marL="22669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27241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181350" indent="-2698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 descr="A wheel of a bicycle&#10;&#10;Description automatically generated">
            <a:extLst>
              <a:ext uri="{FF2B5EF4-FFF2-40B4-BE49-F238E27FC236}">
                <a16:creationId xmlns:a16="http://schemas.microsoft.com/office/drawing/2014/main" id="{034EB1F5-8683-40E9-ACDB-0115F36F814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" t="5636" r="-8" b="66468"/>
          <a:stretch/>
        </p:blipFill>
        <p:spPr>
          <a:xfrm>
            <a:off x="179693" y="1728000"/>
            <a:ext cx="11832613" cy="4951226"/>
          </a:xfr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8885239-2790-4D1F-B045-3FA3F05A8B11}"/>
              </a:ext>
            </a:extLst>
          </p:cNvPr>
          <p:cNvSpPr>
            <a:spLocks/>
          </p:cNvSpPr>
          <p:nvPr/>
        </p:nvSpPr>
        <p:spPr bwMode="auto">
          <a:xfrm>
            <a:off x="179693" y="1733965"/>
            <a:ext cx="11833200" cy="4950000"/>
          </a:xfrm>
          <a:prstGeom prst="rect">
            <a:avLst/>
          </a:prstGeom>
          <a:gradFill flip="none" rotWithShape="1">
            <a:gsLst>
              <a:gs pos="35000">
                <a:schemeClr val="tx1">
                  <a:lumMod val="50000"/>
                  <a:alpha val="0"/>
                </a:schemeClr>
              </a:gs>
              <a:gs pos="95000">
                <a:schemeClr val="tx1">
                  <a:lumMod val="50000"/>
                </a:schemeClr>
              </a:gs>
            </a:gsLst>
            <a:lin ang="8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-25000" noProof="0">
              <a:ln>
                <a:noFill/>
              </a:ln>
              <a:solidFill>
                <a:srgbClr val="FAFFFF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FF3DBBC-3584-4B63-9A3A-E43C1AA1286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1A586D-A8AC-41BD-9C3D-32DB9A5B151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43489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3357BC-7B63-4B8B-AB54-EA5D5A2DE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C5ACCE-8A6A-4CF6-9961-EF1E6822F2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9FEBCF3-85EE-4FF0-B0DD-8BAE03EF966D}" type="datetime1">
              <a:rPr lang="en-GB" smtClean="0"/>
              <a:pPr>
                <a:defRPr/>
              </a:pPr>
              <a:t>09/03/2020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37D2DC-0529-4745-8AB5-DF829DC8B3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3387DC7-40CB-4E0A-98FF-24311D33C81F}" type="slidenum">
              <a:rPr lang="en-GB" altLang="nl-BE" smtClean="0"/>
              <a:pPr>
                <a:defRPr/>
              </a:pPr>
              <a:t>10</a:t>
            </a:fld>
            <a:endParaRPr lang="en-GB" altLang="nl-BE"/>
          </a:p>
        </p:txBody>
      </p:sp>
      <p:pic>
        <p:nvPicPr>
          <p:cNvPr id="6" name="Content Placeholder 8">
            <a:extLst>
              <a:ext uri="{FF2B5EF4-FFF2-40B4-BE49-F238E27FC236}">
                <a16:creationId xmlns:a16="http://schemas.microsoft.com/office/drawing/2014/main" id="{CD2CC0E5-886C-404E-AC5F-3DE4DDB0A2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7283" y="360000"/>
            <a:ext cx="7204811" cy="4114800"/>
          </a:xfrm>
          <a:prstGeom prst="rect">
            <a:avLst/>
          </a:prstGeom>
        </p:spPr>
      </p:pic>
      <p:pic>
        <p:nvPicPr>
          <p:cNvPr id="7" name="Content Placeholder 9">
            <a:extLst>
              <a:ext uri="{FF2B5EF4-FFF2-40B4-BE49-F238E27FC236}">
                <a16:creationId xmlns:a16="http://schemas.microsoft.com/office/drawing/2014/main" id="{5F614B77-FFE0-45A6-BB2B-F8338F5E81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2304" y="2652480"/>
            <a:ext cx="5219579" cy="3845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8317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CDD559-D487-4A47-A448-C82FBC061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A1E687-7953-400E-BB44-5B51A56B23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63396D-C8DF-49C3-8A81-351BEDF746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94551B-6FDA-4313-BE33-25C08BC2AE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21255C6-119C-487F-9BF2-432FDA33034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229A220-7195-4830-96CA-8555639934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859591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4224D454-37AF-4A25-B091-9AC251985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03DCDC92-5C3D-4CBE-BAEF-E38E6389D0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484F2179-543F-4C03-9FDE-6F294691D0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/>
              <a:t>Page </a:t>
            </a:r>
            <a:fld id="{43667527-7C42-4D8C-9BD4-204D132C7D2E}" type="slidenum">
              <a:rPr smtClean="0"/>
              <a:pPr/>
              <a:t>2</a:t>
            </a:fld>
            <a:endParaRPr lang="en-GB" dirty="0"/>
          </a:p>
        </p:txBody>
      </p:sp>
      <p:sp>
        <p:nvSpPr>
          <p:cNvPr id="26" name="Footer Placeholder 25">
            <a:extLst>
              <a:ext uri="{FF2B5EF4-FFF2-40B4-BE49-F238E27FC236}">
                <a16:creationId xmlns:a16="http://schemas.microsoft.com/office/drawing/2014/main" id="{A5C1DDA6-EB07-47EF-85F8-C5CCD4F466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Confidential</a:t>
            </a:r>
            <a:endParaRPr lang="en-GB" dirty="0"/>
          </a:p>
        </p:txBody>
      </p:sp>
      <p:sp>
        <p:nvSpPr>
          <p:cNvPr id="25" name="Date Placeholder 24">
            <a:extLst>
              <a:ext uri="{FF2B5EF4-FFF2-40B4-BE49-F238E27FC236}">
                <a16:creationId xmlns:a16="http://schemas.microsoft.com/office/drawing/2014/main" id="{3A83A57C-DF5B-4BA1-8EFD-2CFC02E483F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2EAD5F8-BDCD-43DC-89D4-A6A8F6323C94}" type="datetime1">
              <a:rPr lang="en-GB" smtClean="0"/>
              <a:pPr/>
              <a:t>09/03/2020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A465E47-1C33-4623-AC5E-1582BE2D11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79BA00D-EE39-4A06-BD30-0EA9E210EC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867" y="0"/>
            <a:ext cx="1153426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7597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4231E-78AB-4254-BE62-4E69F3A61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3302ED-816B-4C01-93A4-989F3E4386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B484DF-F5DD-4010-BFA8-319CD0543F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70C22C-352B-4621-83C7-E120B47CAB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D87DAD1-3FE3-4065-9677-11D81403A22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0E7AD3-561E-4A32-A280-DD25679ADF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89DF650-ECB7-4C25-B542-5DDAF4D96E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6699" y="0"/>
            <a:ext cx="85628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1055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jdelijke aanduiding voor datum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B4478F9A-36D5-46DD-B6FF-497C7600DBED}" type="datetime1">
              <a:rPr lang="en-GB" altLang="nl-BE" sz="1100">
                <a:solidFill>
                  <a:srgbClr val="000000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09/03/2020</a:t>
            </a:fld>
            <a:endParaRPr lang="en-GB" altLang="nl-BE" sz="1100">
              <a:solidFill>
                <a:srgbClr val="000000"/>
              </a:solidFill>
            </a:endParaRPr>
          </a:p>
        </p:txBody>
      </p:sp>
      <p:sp>
        <p:nvSpPr>
          <p:cNvPr id="22531" name="Tijdelijke aanduiding voor dianumm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6965ECFC-84E4-409C-A3CD-D0C3D953C35D}" type="slidenum">
              <a:rPr lang="en-GB" altLang="nl-BE" sz="1100">
                <a:solidFill>
                  <a:srgbClr val="000000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4</a:t>
            </a:fld>
            <a:endParaRPr lang="en-GB" altLang="nl-BE" sz="1100">
              <a:solidFill>
                <a:srgbClr val="000000"/>
              </a:solidFill>
            </a:endParaRPr>
          </a:p>
        </p:txBody>
      </p:sp>
      <p:sp>
        <p:nvSpPr>
          <p:cNvPr id="2253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nl-NL" altLang="nl-BE"/>
          </a:p>
        </p:txBody>
      </p:sp>
      <p:pic>
        <p:nvPicPr>
          <p:cNvPr id="22533" name="Picture 3" descr="aftap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88" r="8788"/>
          <a:stretch>
            <a:fillRect/>
          </a:stretch>
        </p:blipFill>
        <p:spPr>
          <a:xfrm>
            <a:off x="1524000" y="0"/>
            <a:ext cx="9144000" cy="6865938"/>
          </a:xfrm>
          <a:noFill/>
        </p:spPr>
      </p:pic>
      <p:sp>
        <p:nvSpPr>
          <p:cNvPr id="22534" name="Rectangle 4"/>
          <p:cNvSpPr>
            <a:spLocks noChangeArrowheads="1"/>
          </p:cNvSpPr>
          <p:nvPr/>
        </p:nvSpPr>
        <p:spPr bwMode="auto">
          <a:xfrm>
            <a:off x="1882776" y="250825"/>
            <a:ext cx="5972175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nl-BE" sz="4700">
                <a:solidFill>
                  <a:schemeClr val="bg1"/>
                </a:solidFill>
              </a:rPr>
              <a:t>Blast furnaces</a:t>
            </a:r>
            <a:br>
              <a:rPr lang="en-US" altLang="nl-BE" sz="4700">
                <a:solidFill>
                  <a:schemeClr val="bg1"/>
                </a:solidFill>
              </a:rPr>
            </a:br>
            <a:r>
              <a:rPr lang="en-US" altLang="nl-BE" sz="3000">
                <a:solidFill>
                  <a:schemeClr val="bg1"/>
                </a:solidFill>
              </a:rPr>
              <a:t>Cast floor</a:t>
            </a:r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jdelijke aanduiding voor datum 2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DAD1791B-0D65-4DC4-A5D5-6FA5B03FD8F0}" type="datetime1">
              <a:rPr lang="en-GB" altLang="nl-BE" sz="1100">
                <a:solidFill>
                  <a:srgbClr val="000000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09/03/2020</a:t>
            </a:fld>
            <a:endParaRPr lang="en-GB" altLang="nl-BE" sz="1100">
              <a:solidFill>
                <a:srgbClr val="000000"/>
              </a:solidFill>
            </a:endParaRPr>
          </a:p>
        </p:txBody>
      </p:sp>
      <p:sp>
        <p:nvSpPr>
          <p:cNvPr id="24579" name="Tijdelijke aanduiding voor dianummer 4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82E41BF5-AE86-4A28-B8F3-B594D116701D}" type="slidenum">
              <a:rPr lang="en-GB" altLang="nl-BE" sz="1100">
                <a:solidFill>
                  <a:srgbClr val="000000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5</a:t>
            </a:fld>
            <a:endParaRPr lang="en-GB" altLang="nl-BE" sz="1100">
              <a:solidFill>
                <a:srgbClr val="000000"/>
              </a:solidFill>
            </a:endParaRPr>
          </a:p>
        </p:txBody>
      </p:sp>
      <p:pic>
        <p:nvPicPr>
          <p:cNvPr id="24580" name="Picture 2" descr="Hoogovenvloer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1" name="Rectangle 3"/>
          <p:cNvSpPr>
            <a:spLocks noGrp="1" noChangeArrowheads="1"/>
          </p:cNvSpPr>
          <p:nvPr>
            <p:ph type="title"/>
          </p:nvPr>
        </p:nvSpPr>
        <p:spPr>
          <a:xfrm>
            <a:off x="1882775" y="250825"/>
            <a:ext cx="7742238" cy="1054100"/>
          </a:xfrm>
          <a:noFill/>
        </p:spPr>
        <p:txBody>
          <a:bodyPr anchor="ctr"/>
          <a:lstStyle/>
          <a:p>
            <a:pPr eaLnBrk="1" hangingPunct="1"/>
            <a:r>
              <a:rPr lang="en-US" altLang="nl-BE" sz="4700">
                <a:solidFill>
                  <a:schemeClr val="bg1"/>
                </a:solidFill>
              </a:rPr>
              <a:t>Blast furnaces</a:t>
            </a:r>
            <a:br>
              <a:rPr lang="en-US" altLang="nl-BE" sz="4700">
                <a:solidFill>
                  <a:schemeClr val="bg1"/>
                </a:solidFill>
              </a:rPr>
            </a:br>
            <a:r>
              <a:rPr lang="en-US" altLang="nl-BE">
                <a:solidFill>
                  <a:schemeClr val="bg1"/>
                </a:solidFill>
              </a:rPr>
              <a:t>Sampling of pig iron</a:t>
            </a: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jdelijke aanduiding voor datum 2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89318EC9-6A79-4BF4-B3AC-6D40E5C57821}" type="datetime1">
              <a:rPr lang="en-GB" altLang="nl-BE" sz="1100">
                <a:solidFill>
                  <a:srgbClr val="000000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09/03/2020</a:t>
            </a:fld>
            <a:endParaRPr lang="en-GB" altLang="nl-BE" sz="1100">
              <a:solidFill>
                <a:srgbClr val="000000"/>
              </a:solidFill>
            </a:endParaRPr>
          </a:p>
        </p:txBody>
      </p:sp>
      <p:sp>
        <p:nvSpPr>
          <p:cNvPr id="13315" name="Tijdelijke aanduiding voor dianummer 4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8C546A4B-F5A5-4E2D-9A35-6FA88DE9193A}" type="slidenum">
              <a:rPr lang="en-GB" altLang="nl-BE" sz="1100">
                <a:solidFill>
                  <a:srgbClr val="000000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6</a:t>
            </a:fld>
            <a:endParaRPr lang="en-GB" altLang="nl-BE" sz="1100">
              <a:solidFill>
                <a:srgbClr val="000000"/>
              </a:solidFill>
            </a:endParaRPr>
          </a:p>
        </p:txBody>
      </p:sp>
      <p:pic>
        <p:nvPicPr>
          <p:cNvPr id="13316" name="Picture 2" descr="torpedo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7" name="Rectangle 3"/>
          <p:cNvSpPr>
            <a:spLocks noGrp="1" noChangeArrowheads="1"/>
          </p:cNvSpPr>
          <p:nvPr>
            <p:ph type="title"/>
          </p:nvPr>
        </p:nvSpPr>
        <p:spPr>
          <a:xfrm>
            <a:off x="1882775" y="250825"/>
            <a:ext cx="7373938" cy="1143000"/>
          </a:xfrm>
          <a:noFill/>
        </p:spPr>
        <p:txBody>
          <a:bodyPr/>
          <a:lstStyle/>
          <a:p>
            <a:pPr eaLnBrk="1" hangingPunct="1"/>
            <a:r>
              <a:rPr lang="en-US" altLang="nl-BE" sz="4700">
                <a:solidFill>
                  <a:schemeClr val="bg1"/>
                </a:solidFill>
              </a:rPr>
              <a:t>Transport of pig iron</a:t>
            </a:r>
            <a:br>
              <a:rPr lang="en-US" altLang="nl-BE" sz="4700">
                <a:solidFill>
                  <a:schemeClr val="bg1"/>
                </a:solidFill>
              </a:rPr>
            </a:br>
            <a:r>
              <a:rPr lang="en-US" altLang="nl-BE">
                <a:solidFill>
                  <a:schemeClr val="bg1"/>
                </a:solidFill>
              </a:rPr>
              <a:t>Torpedos</a:t>
            </a: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jdelijke aanduiding voor datum 2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CEBD79C2-F68D-40D8-BC72-95D92EF7A9CD}" type="datetime1">
              <a:rPr lang="en-GB" altLang="nl-BE" sz="1100">
                <a:solidFill>
                  <a:srgbClr val="000000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09/03/2020</a:t>
            </a:fld>
            <a:endParaRPr lang="en-GB" altLang="nl-BE" sz="1100">
              <a:solidFill>
                <a:srgbClr val="000000"/>
              </a:solidFill>
            </a:endParaRPr>
          </a:p>
        </p:txBody>
      </p:sp>
      <p:sp>
        <p:nvSpPr>
          <p:cNvPr id="18435" name="Tijdelijke aanduiding voor dianummer 4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1385D2B1-AAC8-48A0-9772-058788602288}" type="slidenum">
              <a:rPr lang="en-GB" altLang="nl-BE" sz="1100">
                <a:solidFill>
                  <a:srgbClr val="000000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7</a:t>
            </a:fld>
            <a:endParaRPr lang="en-GB" altLang="nl-BE" sz="1100">
              <a:solidFill>
                <a:srgbClr val="000000"/>
              </a:solidFill>
            </a:endParaRPr>
          </a:p>
        </p:txBody>
      </p:sp>
      <p:sp>
        <p:nvSpPr>
          <p:cNvPr id="18436" name="Rectangle 2"/>
          <p:cNvSpPr>
            <a:spLocks noChangeArrowheads="1"/>
          </p:cNvSpPr>
          <p:nvPr/>
        </p:nvSpPr>
        <p:spPr bwMode="auto">
          <a:xfrm>
            <a:off x="1" y="0"/>
            <a:ext cx="12120464" cy="6858000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buFontTx/>
              <a:buNone/>
            </a:pPr>
            <a:endParaRPr lang="nl-BE" altLang="nl-BE" sz="2100">
              <a:solidFill>
                <a:schemeClr val="tx2"/>
              </a:solidFill>
            </a:endParaRPr>
          </a:p>
        </p:txBody>
      </p:sp>
      <p:pic>
        <p:nvPicPr>
          <p:cNvPr id="18437" name="Picture 3" descr="STL_GIETPAN_MET_AFZUIGING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7451" y="23813"/>
            <a:ext cx="45958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8" name="Rectangle 4"/>
          <p:cNvSpPr>
            <a:spLocks noGrp="1" noChangeArrowheads="1"/>
          </p:cNvSpPr>
          <p:nvPr>
            <p:ph type="title"/>
          </p:nvPr>
        </p:nvSpPr>
        <p:spPr>
          <a:xfrm>
            <a:off x="1882775" y="250825"/>
            <a:ext cx="7373938" cy="1143000"/>
          </a:xfrm>
          <a:noFill/>
        </p:spPr>
        <p:txBody>
          <a:bodyPr/>
          <a:lstStyle/>
          <a:p>
            <a:pPr eaLnBrk="1" hangingPunct="1"/>
            <a:r>
              <a:rPr lang="en-US" altLang="nl-BE" sz="4700">
                <a:solidFill>
                  <a:schemeClr val="bg1"/>
                </a:solidFill>
              </a:rPr>
              <a:t>Steel mill</a:t>
            </a:r>
            <a:br>
              <a:rPr lang="en-US" altLang="nl-BE" sz="4700">
                <a:solidFill>
                  <a:schemeClr val="bg1"/>
                </a:solidFill>
              </a:rPr>
            </a:br>
            <a:r>
              <a:rPr lang="en-US" altLang="nl-BE">
                <a:solidFill>
                  <a:schemeClr val="bg1"/>
                </a:solidFill>
              </a:rPr>
              <a:t>loading hot metal into the convertor</a:t>
            </a: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C059EA7-5F56-428A-B9F4-8A274CFA3B56}" type="datetime1">
              <a:rPr lang="en-GB" smtClean="0"/>
              <a:pPr>
                <a:defRPr/>
              </a:pPr>
              <a:t>09/03/2020</a:t>
            </a:fld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BCDB94C-F116-493B-AE0D-9F650D53EC4D}" type="slidenum">
              <a:rPr lang="en-GB" altLang="nl-BE" smtClean="0"/>
              <a:pPr>
                <a:defRPr/>
              </a:pPr>
              <a:t>8</a:t>
            </a:fld>
            <a:endParaRPr lang="en-GB" altLang="nl-BE"/>
          </a:p>
        </p:txBody>
      </p:sp>
      <p:sp>
        <p:nvSpPr>
          <p:cNvPr id="4" name="Tijdelijke aanduiding voor inhoud 2"/>
          <p:cNvSpPr txBox="1">
            <a:spLocks/>
          </p:cNvSpPr>
          <p:nvPr/>
        </p:nvSpPr>
        <p:spPr>
          <a:xfrm>
            <a:off x="1962150" y="1197238"/>
            <a:ext cx="8235950" cy="3714096"/>
          </a:xfrm>
          <a:prstGeom prst="rect">
            <a:avLst/>
          </a:prstGeom>
        </p:spPr>
        <p:txBody>
          <a:bodyPr/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+mn-lt"/>
                <a:ea typeface="+mn-ea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+mn-lt"/>
                <a:ea typeface="+mn-ea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eaLnBrk="1" hangingPunct="1"/>
            <a:r>
              <a:rPr lang="en-US" altLang="nl-BE" kern="0"/>
              <a:t>People everywhere</a:t>
            </a:r>
          </a:p>
          <a:p>
            <a:pPr eaLnBrk="1" hangingPunct="1"/>
            <a:endParaRPr lang="en-US" altLang="nl-BE" kern="0"/>
          </a:p>
          <a:p>
            <a:pPr eaLnBrk="1" hangingPunct="1"/>
            <a:r>
              <a:rPr lang="en-US" altLang="nl-BE" kern="0"/>
              <a:t>Lots of expertise, on all levels, operators, metallurgists, modelling specialists, software engineers, ... </a:t>
            </a:r>
          </a:p>
          <a:p>
            <a:pPr eaLnBrk="1" hangingPunct="1"/>
            <a:endParaRPr lang="en-US" altLang="nl-BE" kern="0"/>
          </a:p>
          <a:p>
            <a:pPr eaLnBrk="1" hangingPunct="1"/>
            <a:r>
              <a:rPr lang="en-US" altLang="nl-BE" kern="0"/>
              <a:t>Every detail comes with 10 subdetails, every data point has a story</a:t>
            </a:r>
          </a:p>
          <a:p>
            <a:pPr eaLnBrk="1" hangingPunct="1"/>
            <a:endParaRPr lang="en-US" altLang="nl-BE" kern="0"/>
          </a:p>
          <a:p>
            <a:pPr eaLnBrk="1" hangingPunct="1"/>
            <a:r>
              <a:rPr lang="en-US" altLang="nl-BE" kern="0"/>
              <a:t>Constantly new ideas, tests, improvements, revamps, ... going on</a:t>
            </a:r>
          </a:p>
          <a:p>
            <a:pPr eaLnBrk="1" hangingPunct="1"/>
            <a:endParaRPr lang="en-US" altLang="nl-BE" kern="0"/>
          </a:p>
        </p:txBody>
      </p:sp>
    </p:spTree>
    <p:extLst>
      <p:ext uri="{BB962C8B-B14F-4D97-AF65-F5344CB8AC3E}">
        <p14:creationId xmlns:p14="http://schemas.microsoft.com/office/powerpoint/2010/main" val="29803906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D76CAB-DFAB-429B-A48C-72AD71478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96AA2D-892B-49F4-8626-61F6D4F892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B3C1D7-9880-4C7C-A087-A1A5AE7AED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233106-8A69-42FD-B03E-7F512681DF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05BA3A3-35AA-4C82-9401-8620300CE60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4896001-3AA0-4930-A036-8A333FEECD7C}" type="datetime1">
              <a:rPr lang="en-GB" smtClean="0"/>
              <a:t>09/03/2020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8A91D05-BE8D-4784-A677-8EE0186627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D0BC2D-8C85-45FD-ACAE-6C79D9A5A4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2280" y="0"/>
            <a:ext cx="5800714" cy="3069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10A5D9B-BBD7-45DF-852F-7B7752ABDD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08434" y="63979"/>
            <a:ext cx="6483566" cy="42015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DA5BA52-1B58-488B-B482-295C0305FC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4012" y="3005021"/>
            <a:ext cx="6467716" cy="3789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88DE5E0-8307-4273-8E2E-EE6F173101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41409" y="3903083"/>
            <a:ext cx="5950591" cy="2954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816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7_PresentationV8">
  <a:themeElements>
    <a:clrScheme name="ArcelorMittal">
      <a:dk1>
        <a:srgbClr val="696969"/>
      </a:dk1>
      <a:lt1>
        <a:srgbClr val="FFFFFF"/>
      </a:lt1>
      <a:dk2>
        <a:srgbClr val="FF3700"/>
      </a:dk2>
      <a:lt2>
        <a:srgbClr val="C5BCA4"/>
      </a:lt2>
      <a:accent1>
        <a:srgbClr val="0070C0"/>
      </a:accent1>
      <a:accent2>
        <a:srgbClr val="8B819E"/>
      </a:accent2>
      <a:accent3>
        <a:srgbClr val="5C7F92"/>
      </a:accent3>
      <a:accent4>
        <a:srgbClr val="70A489"/>
      </a:accent4>
      <a:accent5>
        <a:srgbClr val="C88F42"/>
      </a:accent5>
      <a:accent6>
        <a:srgbClr val="8B819E"/>
      </a:accent6>
      <a:hlink>
        <a:srgbClr val="9DB1C9"/>
      </a:hlink>
      <a:folHlink>
        <a:srgbClr val="BAC48C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rcelorMittal 16x9 (preferred) - kopie.potx" id="{6341A540-5C53-4789-AED5-AE454CFE5137}" vid="{6CC26912-24AB-475D-95C8-292FC7DCCFA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3125130D0C9845908C8B301DD5842B" ma:contentTypeVersion="11" ma:contentTypeDescription="Create a new document." ma:contentTypeScope="" ma:versionID="33ae1cddda0b8fc96a8ff279e1722f29">
  <xsd:schema xmlns:xsd="http://www.w3.org/2001/XMLSchema" xmlns:xs="http://www.w3.org/2001/XMLSchema" xmlns:p="http://schemas.microsoft.com/office/2006/metadata/properties" xmlns:ns3="e671f361-d4b1-40a0-8d91-3ef999fdbe17" xmlns:ns4="18b81e82-4d32-402c-aec2-2e8641ac0ca4" targetNamespace="http://schemas.microsoft.com/office/2006/metadata/properties" ma:root="true" ma:fieldsID="f597cdcea8f54999f4078d3c6bfd157d" ns3:_="" ns4:_="">
    <xsd:import namespace="e671f361-d4b1-40a0-8d91-3ef999fdbe17"/>
    <xsd:import namespace="18b81e82-4d32-402c-aec2-2e8641ac0ca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71f361-d4b1-40a0-8d91-3ef999fdbe1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b81e82-4d32-402c-aec2-2e8641ac0ca4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B0028C6-993D-492E-B4DE-822B38543640}">
  <ds:schemaRefs>
    <ds:schemaRef ds:uri="http://purl.org/dc/terms/"/>
    <ds:schemaRef ds:uri="e671f361-d4b1-40a0-8d91-3ef999fdbe17"/>
    <ds:schemaRef ds:uri="http://purl.org/dc/dcmitype/"/>
    <ds:schemaRef ds:uri="http://purl.org/dc/elements/1.1/"/>
    <ds:schemaRef ds:uri="18b81e82-4d32-402c-aec2-2e8641ac0ca4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34D515C1-789E-43FA-8324-75ABFAFC359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16FACA-8A1D-4253-AF87-B67DE537F75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71f361-d4b1-40a0-8d91-3ef999fdbe17"/>
    <ds:schemaRef ds:uri="18b81e82-4d32-402c-aec2-2e8641ac0c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rcelorMittal 16x9 (preferred)</Template>
  <TotalTime>20</TotalTime>
  <Words>104</Words>
  <Application>Microsoft Office PowerPoint</Application>
  <PresentationFormat>Widescreen</PresentationFormat>
  <Paragraphs>43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MS PGothic</vt:lpstr>
      <vt:lpstr>Arial</vt:lpstr>
      <vt:lpstr>Calibri</vt:lpstr>
      <vt:lpstr>Wingdings</vt:lpstr>
      <vt:lpstr>7_PresentationV8</vt:lpstr>
      <vt:lpstr>think-cell Slide</vt:lpstr>
      <vt:lpstr>PowerPoint Presentation</vt:lpstr>
      <vt:lpstr>PowerPoint Presentation</vt:lpstr>
      <vt:lpstr>PowerPoint Presentation</vt:lpstr>
      <vt:lpstr>PowerPoint Presentation</vt:lpstr>
      <vt:lpstr>Blast furnaces Sampling of pig iron</vt:lpstr>
      <vt:lpstr>Transport of pig iron Torpedos</vt:lpstr>
      <vt:lpstr>Steel mill loading hot metal into the convertor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ert, Karsten</dc:creator>
  <cp:lastModifiedBy>Naert, Karsten</cp:lastModifiedBy>
  <cp:revision>2</cp:revision>
  <dcterms:created xsi:type="dcterms:W3CDTF">2020-03-09T16:14:04Z</dcterms:created>
  <dcterms:modified xsi:type="dcterms:W3CDTF">2020-03-09T16:3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3125130D0C9845908C8B301DD5842B</vt:lpwstr>
  </property>
</Properties>
</file>